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313ACB-E2C5-4E7F-A166-A7642B5B5042}" v="60" dt="2023-03-06T22:52:49.8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E4313ACB-E2C5-4E7F-A166-A7642B5B5042}"/>
    <pc:docChg chg="undo custSel addSld delSld modSld">
      <pc:chgData name="Roberto Gallardo" userId="49a044883f185952" providerId="LiveId" clId="{E4313ACB-E2C5-4E7F-A166-A7642B5B5042}" dt="2023-03-06T22:52:35.810" v="220"/>
      <pc:docMkLst>
        <pc:docMk/>
      </pc:docMkLst>
      <pc:sldChg chg="del">
        <pc:chgData name="Roberto Gallardo" userId="49a044883f185952" providerId="LiveId" clId="{E4313ACB-E2C5-4E7F-A166-A7642B5B5042}" dt="2023-02-25T14:57:52.779" v="4" actId="47"/>
        <pc:sldMkLst>
          <pc:docMk/>
          <pc:sldMk cId="1175010214" sldId="261"/>
        </pc:sldMkLst>
      </pc:sldChg>
      <pc:sldChg chg="addSp modSp mod">
        <pc:chgData name="Roberto Gallardo" userId="49a044883f185952" providerId="LiveId" clId="{E4313ACB-E2C5-4E7F-A166-A7642B5B5042}" dt="2023-03-06T22:44:10.279" v="12" actId="1076"/>
        <pc:sldMkLst>
          <pc:docMk/>
          <pc:sldMk cId="1418533539" sldId="271"/>
        </pc:sldMkLst>
        <pc:picChg chg="add mod">
          <ac:chgData name="Roberto Gallardo" userId="49a044883f185952" providerId="LiveId" clId="{E4313ACB-E2C5-4E7F-A166-A7642B5B5042}" dt="2023-03-06T22:44:10.279" v="12" actId="1076"/>
          <ac:picMkLst>
            <pc:docMk/>
            <pc:sldMk cId="1418533539" sldId="271"/>
            <ac:picMk id="6" creationId="{20F04A26-E754-BD57-E2EE-4A1CE113DC18}"/>
          </ac:picMkLst>
        </pc:picChg>
      </pc:sldChg>
      <pc:sldChg chg="addSp modSp mod">
        <pc:chgData name="Roberto Gallardo" userId="49a044883f185952" providerId="LiveId" clId="{E4313ACB-E2C5-4E7F-A166-A7642B5B5042}" dt="2023-03-06T22:46:45.104" v="82" actId="1076"/>
        <pc:sldMkLst>
          <pc:docMk/>
          <pc:sldMk cId="2124848710" sldId="281"/>
        </pc:sldMkLst>
        <pc:picChg chg="add mod">
          <ac:chgData name="Roberto Gallardo" userId="49a044883f185952" providerId="LiveId" clId="{E4313ACB-E2C5-4E7F-A166-A7642B5B5042}" dt="2023-03-06T22:46:45.104" v="82" actId="1076"/>
          <ac:picMkLst>
            <pc:docMk/>
            <pc:sldMk cId="2124848710" sldId="281"/>
            <ac:picMk id="6" creationId="{F4852A83-F046-385F-C818-404FCB2E5B57}"/>
          </ac:picMkLst>
        </pc:picChg>
      </pc:sldChg>
      <pc:sldChg chg="addSp modSp mod">
        <pc:chgData name="Roberto Gallardo" userId="49a044883f185952" providerId="LiveId" clId="{E4313ACB-E2C5-4E7F-A166-A7642B5B5042}" dt="2023-03-06T22:47:04.751" v="92" actId="1076"/>
        <pc:sldMkLst>
          <pc:docMk/>
          <pc:sldMk cId="2028175529" sldId="282"/>
        </pc:sldMkLst>
        <pc:picChg chg="add mod">
          <ac:chgData name="Roberto Gallardo" userId="49a044883f185952" providerId="LiveId" clId="{E4313ACB-E2C5-4E7F-A166-A7642B5B5042}" dt="2023-03-06T22:47:04.751" v="92" actId="1076"/>
          <ac:picMkLst>
            <pc:docMk/>
            <pc:sldMk cId="2028175529" sldId="282"/>
            <ac:picMk id="7" creationId="{3A66825A-7A47-78E8-F4B8-568120D5E0CC}"/>
          </ac:picMkLst>
        </pc:picChg>
      </pc:sldChg>
      <pc:sldChg chg="addSp modSp mod">
        <pc:chgData name="Roberto Gallardo" userId="49a044883f185952" providerId="LiveId" clId="{E4313ACB-E2C5-4E7F-A166-A7642B5B5042}" dt="2023-03-06T22:47:23.991" v="102" actId="1076"/>
        <pc:sldMkLst>
          <pc:docMk/>
          <pc:sldMk cId="1326517747" sldId="283"/>
        </pc:sldMkLst>
        <pc:picChg chg="add mod">
          <ac:chgData name="Roberto Gallardo" userId="49a044883f185952" providerId="LiveId" clId="{E4313ACB-E2C5-4E7F-A166-A7642B5B5042}" dt="2023-03-06T22:47:23.991" v="102" actId="1076"/>
          <ac:picMkLst>
            <pc:docMk/>
            <pc:sldMk cId="1326517747" sldId="283"/>
            <ac:picMk id="7" creationId="{E07BAB3D-D4CD-1A8B-81A1-2A5D4E49A2CA}"/>
          </ac:picMkLst>
        </pc:picChg>
      </pc:sldChg>
      <pc:sldChg chg="addSp modSp mod">
        <pc:chgData name="Roberto Gallardo" userId="49a044883f185952" providerId="LiveId" clId="{E4313ACB-E2C5-4E7F-A166-A7642B5B5042}" dt="2023-03-06T22:47:45.919" v="114" actId="1035"/>
        <pc:sldMkLst>
          <pc:docMk/>
          <pc:sldMk cId="783739251" sldId="284"/>
        </pc:sldMkLst>
        <pc:picChg chg="add mod">
          <ac:chgData name="Roberto Gallardo" userId="49a044883f185952" providerId="LiveId" clId="{E4313ACB-E2C5-4E7F-A166-A7642B5B5042}" dt="2023-03-06T22:47:45.919" v="114" actId="1035"/>
          <ac:picMkLst>
            <pc:docMk/>
            <pc:sldMk cId="783739251" sldId="284"/>
            <ac:picMk id="7" creationId="{AC0ABAAE-B996-FEB9-BA28-25B050B8D651}"/>
          </ac:picMkLst>
        </pc:picChg>
      </pc:sldChg>
      <pc:sldChg chg="addSp modSp mod">
        <pc:chgData name="Roberto Gallardo" userId="49a044883f185952" providerId="LiveId" clId="{E4313ACB-E2C5-4E7F-A166-A7642B5B5042}" dt="2023-03-06T22:48:03.525" v="125" actId="14100"/>
        <pc:sldMkLst>
          <pc:docMk/>
          <pc:sldMk cId="1676122233" sldId="285"/>
        </pc:sldMkLst>
        <pc:picChg chg="add mod">
          <ac:chgData name="Roberto Gallardo" userId="49a044883f185952" providerId="LiveId" clId="{E4313ACB-E2C5-4E7F-A166-A7642B5B5042}" dt="2023-03-06T22:48:03.525" v="125" actId="14100"/>
          <ac:picMkLst>
            <pc:docMk/>
            <pc:sldMk cId="1676122233" sldId="285"/>
            <ac:picMk id="7" creationId="{978F393A-9F33-2651-9C26-B9EADD8B1FCA}"/>
          </ac:picMkLst>
        </pc:picChg>
      </pc:sldChg>
      <pc:sldChg chg="addSp modSp mod">
        <pc:chgData name="Roberto Gallardo" userId="49a044883f185952" providerId="LiveId" clId="{E4313ACB-E2C5-4E7F-A166-A7642B5B5042}" dt="2023-03-06T22:48:20.218" v="135" actId="1076"/>
        <pc:sldMkLst>
          <pc:docMk/>
          <pc:sldMk cId="3100398757" sldId="286"/>
        </pc:sldMkLst>
        <pc:picChg chg="add mod">
          <ac:chgData name="Roberto Gallardo" userId="49a044883f185952" providerId="LiveId" clId="{E4313ACB-E2C5-4E7F-A166-A7642B5B5042}" dt="2023-03-06T22:48:20.218" v="135" actId="1076"/>
          <ac:picMkLst>
            <pc:docMk/>
            <pc:sldMk cId="3100398757" sldId="286"/>
            <ac:picMk id="7" creationId="{B7BAC05C-704E-89AF-9168-D418E6393BF0}"/>
          </ac:picMkLst>
        </pc:picChg>
      </pc:sldChg>
      <pc:sldChg chg="addSp modSp mod">
        <pc:chgData name="Roberto Gallardo" userId="49a044883f185952" providerId="LiveId" clId="{E4313ACB-E2C5-4E7F-A166-A7642B5B5042}" dt="2023-03-06T22:48:41.316" v="146" actId="1076"/>
        <pc:sldMkLst>
          <pc:docMk/>
          <pc:sldMk cId="1546475425" sldId="287"/>
        </pc:sldMkLst>
        <pc:picChg chg="add mod">
          <ac:chgData name="Roberto Gallardo" userId="49a044883f185952" providerId="LiveId" clId="{E4313ACB-E2C5-4E7F-A166-A7642B5B5042}" dt="2023-03-06T22:48:41.316" v="146" actId="1076"/>
          <ac:picMkLst>
            <pc:docMk/>
            <pc:sldMk cId="1546475425" sldId="287"/>
            <ac:picMk id="7" creationId="{16530F5F-7BDD-458B-1BAD-F34D6BFD00A0}"/>
          </ac:picMkLst>
        </pc:picChg>
      </pc:sldChg>
      <pc:sldChg chg="addSp modSp mod">
        <pc:chgData name="Roberto Gallardo" userId="49a044883f185952" providerId="LiveId" clId="{E4313ACB-E2C5-4E7F-A166-A7642B5B5042}" dt="2023-03-06T22:49:16.227" v="169" actId="1076"/>
        <pc:sldMkLst>
          <pc:docMk/>
          <pc:sldMk cId="1380517306" sldId="288"/>
        </pc:sldMkLst>
        <pc:picChg chg="add mod">
          <ac:chgData name="Roberto Gallardo" userId="49a044883f185952" providerId="LiveId" clId="{E4313ACB-E2C5-4E7F-A166-A7642B5B5042}" dt="2023-03-06T22:49:16.227" v="169" actId="1076"/>
          <ac:picMkLst>
            <pc:docMk/>
            <pc:sldMk cId="1380517306" sldId="288"/>
            <ac:picMk id="7" creationId="{FD4366F8-FBA7-5871-77B7-2C11CB0A745F}"/>
          </ac:picMkLst>
        </pc:picChg>
      </pc:sldChg>
      <pc:sldChg chg="addSp modSp mod">
        <pc:chgData name="Roberto Gallardo" userId="49a044883f185952" providerId="LiveId" clId="{E4313ACB-E2C5-4E7F-A166-A7642B5B5042}" dt="2023-03-06T22:49:38.647" v="182" actId="1076"/>
        <pc:sldMkLst>
          <pc:docMk/>
          <pc:sldMk cId="1388671151" sldId="289"/>
        </pc:sldMkLst>
        <pc:picChg chg="add mod">
          <ac:chgData name="Roberto Gallardo" userId="49a044883f185952" providerId="LiveId" clId="{E4313ACB-E2C5-4E7F-A166-A7642B5B5042}" dt="2023-03-06T22:49:38.647" v="182" actId="1076"/>
          <ac:picMkLst>
            <pc:docMk/>
            <pc:sldMk cId="1388671151" sldId="289"/>
            <ac:picMk id="7" creationId="{D1CD75B4-131C-BF4D-3899-1B0F78A80786}"/>
          </ac:picMkLst>
        </pc:picChg>
      </pc:sldChg>
      <pc:sldChg chg="addSp delSp modSp mod">
        <pc:chgData name="Roberto Gallardo" userId="49a044883f185952" providerId="LiveId" clId="{E4313ACB-E2C5-4E7F-A166-A7642B5B5042}" dt="2023-03-06T22:52:32.731" v="218" actId="478"/>
        <pc:sldMkLst>
          <pc:docMk/>
          <pc:sldMk cId="2355376039" sldId="290"/>
        </pc:sldMkLst>
        <pc:graphicFrameChg chg="add del mod">
          <ac:chgData name="Roberto Gallardo" userId="49a044883f185952" providerId="LiveId" clId="{E4313ACB-E2C5-4E7F-A166-A7642B5B5042}" dt="2023-03-06T22:52:32.731" v="218" actId="478"/>
          <ac:graphicFrameMkLst>
            <pc:docMk/>
            <pc:sldMk cId="2355376039" sldId="290"/>
            <ac:graphicFrameMk id="9" creationId="{36C4BCAE-B787-5388-BA07-381C73213F2C}"/>
          </ac:graphicFrameMkLst>
        </pc:graphicFrameChg>
        <pc:graphicFrameChg chg="add del mod">
          <ac:chgData name="Roberto Gallardo" userId="49a044883f185952" providerId="LiveId" clId="{E4313ACB-E2C5-4E7F-A166-A7642B5B5042}" dt="2023-03-06T22:52:32.153" v="217"/>
          <ac:graphicFrameMkLst>
            <pc:docMk/>
            <pc:sldMk cId="2355376039" sldId="290"/>
            <ac:graphicFrameMk id="10" creationId="{E36596D7-484A-3CEC-624E-9DA6DC971391}"/>
          </ac:graphicFrameMkLst>
        </pc:graphicFrameChg>
        <pc:picChg chg="del">
          <ac:chgData name="Roberto Gallardo" userId="49a044883f185952" providerId="LiveId" clId="{E4313ACB-E2C5-4E7F-A166-A7642B5B5042}" dt="2023-03-06T22:52:20.905" v="213" actId="478"/>
          <ac:picMkLst>
            <pc:docMk/>
            <pc:sldMk cId="2355376039" sldId="290"/>
            <ac:picMk id="5" creationId="{C868FF0E-6B59-4EF9-FF4B-0C0837DCCF3E}"/>
          </ac:picMkLst>
        </pc:picChg>
        <pc:picChg chg="add mod">
          <ac:chgData name="Roberto Gallardo" userId="49a044883f185952" providerId="LiveId" clId="{E4313ACB-E2C5-4E7F-A166-A7642B5B5042}" dt="2023-03-06T22:50:12.887" v="201" actId="14100"/>
          <ac:picMkLst>
            <pc:docMk/>
            <pc:sldMk cId="2355376039" sldId="290"/>
            <ac:picMk id="8" creationId="{B4AE4338-DAB8-0CBD-7E6C-1877FA5A1CB0}"/>
          </ac:picMkLst>
        </pc:picChg>
      </pc:sldChg>
      <pc:sldChg chg="addSp delSp modSp mod">
        <pc:chgData name="Roberto Gallardo" userId="49a044883f185952" providerId="LiveId" clId="{E4313ACB-E2C5-4E7F-A166-A7642B5B5042}" dt="2023-03-06T22:52:35.810" v="220"/>
        <pc:sldMkLst>
          <pc:docMk/>
          <pc:sldMk cId="3757257295" sldId="291"/>
        </pc:sldMkLst>
        <pc:graphicFrameChg chg="add mod">
          <ac:chgData name="Roberto Gallardo" userId="49a044883f185952" providerId="LiveId" clId="{E4313ACB-E2C5-4E7F-A166-A7642B5B5042}" dt="2023-03-06T22:52:35.810" v="220"/>
          <ac:graphicFrameMkLst>
            <pc:docMk/>
            <pc:sldMk cId="3757257295" sldId="291"/>
            <ac:graphicFrameMk id="9" creationId="{22A375B4-BC22-ED2A-3A5A-0D37F675862C}"/>
          </ac:graphicFrameMkLst>
        </pc:graphicFrameChg>
        <pc:picChg chg="del">
          <ac:chgData name="Roberto Gallardo" userId="49a044883f185952" providerId="LiveId" clId="{E4313ACB-E2C5-4E7F-A166-A7642B5B5042}" dt="2023-03-06T22:52:35.284" v="219" actId="478"/>
          <ac:picMkLst>
            <pc:docMk/>
            <pc:sldMk cId="3757257295" sldId="291"/>
            <ac:picMk id="7" creationId="{90DBF466-CDD7-DB59-102C-18BAC6C93740}"/>
          </ac:picMkLst>
        </pc:picChg>
        <pc:picChg chg="add mod">
          <ac:chgData name="Roberto Gallardo" userId="49a044883f185952" providerId="LiveId" clId="{E4313ACB-E2C5-4E7F-A166-A7642B5B5042}" dt="2023-03-06T22:50:36.215" v="212" actId="1076"/>
          <ac:picMkLst>
            <pc:docMk/>
            <pc:sldMk cId="3757257295" sldId="291"/>
            <ac:picMk id="8" creationId="{356C5E20-1EEF-0550-2E0C-93D0582EAF75}"/>
          </ac:picMkLst>
        </pc:picChg>
      </pc:sldChg>
      <pc:sldChg chg="addSp modSp mod">
        <pc:chgData name="Roberto Gallardo" userId="49a044883f185952" providerId="LiveId" clId="{E4313ACB-E2C5-4E7F-A166-A7642B5B5042}" dt="2023-03-06T22:48:59.803" v="159" actId="1076"/>
        <pc:sldMkLst>
          <pc:docMk/>
          <pc:sldMk cId="1259856727" sldId="292"/>
        </pc:sldMkLst>
        <pc:picChg chg="add mod">
          <ac:chgData name="Roberto Gallardo" userId="49a044883f185952" providerId="LiveId" clId="{E4313ACB-E2C5-4E7F-A166-A7642B5B5042}" dt="2023-03-06T22:48:59.803" v="159" actId="1076"/>
          <ac:picMkLst>
            <pc:docMk/>
            <pc:sldMk cId="1259856727" sldId="292"/>
            <ac:picMk id="7" creationId="{75E16540-69DD-5884-0B46-18DFCED4BEEB}"/>
          </ac:picMkLst>
        </pc:picChg>
      </pc:sldChg>
      <pc:sldChg chg="addSp modSp mod">
        <pc:chgData name="Roberto Gallardo" userId="49a044883f185952" providerId="LiveId" clId="{E4313ACB-E2C5-4E7F-A166-A7642B5B5042}" dt="2023-03-06T22:46:26.785" v="73" actId="1076"/>
        <pc:sldMkLst>
          <pc:docMk/>
          <pc:sldMk cId="3324519687" sldId="293"/>
        </pc:sldMkLst>
        <pc:picChg chg="add mod">
          <ac:chgData name="Roberto Gallardo" userId="49a044883f185952" providerId="LiveId" clId="{E4313ACB-E2C5-4E7F-A166-A7642B5B5042}" dt="2023-03-06T22:46:26.785" v="73" actId="1076"/>
          <ac:picMkLst>
            <pc:docMk/>
            <pc:sldMk cId="3324519687" sldId="293"/>
            <ac:picMk id="7" creationId="{6BF0B234-4AEE-4120-E2AC-014AA2641491}"/>
          </ac:picMkLst>
        </pc:picChg>
      </pc:sldChg>
      <pc:sldChg chg="addSp modSp mod">
        <pc:chgData name="Roberto Gallardo" userId="49a044883f185952" providerId="LiveId" clId="{E4313ACB-E2C5-4E7F-A166-A7642B5B5042}" dt="2023-03-06T22:45:29.019" v="47" actId="1076"/>
        <pc:sldMkLst>
          <pc:docMk/>
          <pc:sldMk cId="3256182630" sldId="295"/>
        </pc:sldMkLst>
        <pc:picChg chg="add mod">
          <ac:chgData name="Roberto Gallardo" userId="49a044883f185952" providerId="LiveId" clId="{E4313ACB-E2C5-4E7F-A166-A7642B5B5042}" dt="2023-03-06T22:45:29.019" v="47" actId="1076"/>
          <ac:picMkLst>
            <pc:docMk/>
            <pc:sldMk cId="3256182630" sldId="295"/>
            <ac:picMk id="7" creationId="{496B8FBB-8958-CBE3-E3BE-9E046C037160}"/>
          </ac:picMkLst>
        </pc:picChg>
      </pc:sldChg>
      <pc:sldChg chg="addSp modSp add del mod">
        <pc:chgData name="Roberto Gallardo" userId="49a044883f185952" providerId="LiveId" clId="{E4313ACB-E2C5-4E7F-A166-A7642B5B5042}" dt="2023-03-06T22:46:11.316" v="66" actId="1036"/>
        <pc:sldMkLst>
          <pc:docMk/>
          <pc:sldMk cId="4057156843" sldId="296"/>
        </pc:sldMkLst>
        <pc:picChg chg="add mod">
          <ac:chgData name="Roberto Gallardo" userId="49a044883f185952" providerId="LiveId" clId="{E4313ACB-E2C5-4E7F-A166-A7642B5B5042}" dt="2023-03-06T22:46:11.316" v="66" actId="1036"/>
          <ac:picMkLst>
            <pc:docMk/>
            <pc:sldMk cId="4057156843" sldId="296"/>
            <ac:picMk id="7" creationId="{38F1E711-0FDF-CA45-1C32-E6300369ECD5}"/>
          </ac:picMkLst>
        </pc:picChg>
      </pc:sldChg>
      <pc:sldChg chg="addSp modSp mod">
        <pc:chgData name="Roberto Gallardo" userId="49a044883f185952" providerId="LiveId" clId="{E4313ACB-E2C5-4E7F-A166-A7642B5B5042}" dt="2023-03-06T22:44:47.963" v="28" actId="1076"/>
        <pc:sldMkLst>
          <pc:docMk/>
          <pc:sldMk cId="2080110827" sldId="297"/>
        </pc:sldMkLst>
        <pc:picChg chg="add mod">
          <ac:chgData name="Roberto Gallardo" userId="49a044883f185952" providerId="LiveId" clId="{E4313ACB-E2C5-4E7F-A166-A7642B5B5042}" dt="2023-03-06T22:44:47.963" v="28" actId="1076"/>
          <ac:picMkLst>
            <pc:docMk/>
            <pc:sldMk cId="2080110827" sldId="297"/>
            <ac:picMk id="6" creationId="{5B93AF4A-9F18-94A7-06A6-6B74258D8D75}"/>
          </ac:picMkLst>
        </pc:picChg>
      </pc:sldChg>
      <pc:sldChg chg="addSp modSp mod">
        <pc:chgData name="Roberto Gallardo" userId="49a044883f185952" providerId="LiveId" clId="{E4313ACB-E2C5-4E7F-A166-A7642B5B5042}" dt="2023-03-06T22:44:28.096" v="20" actId="1076"/>
        <pc:sldMkLst>
          <pc:docMk/>
          <pc:sldMk cId="1532666867" sldId="298"/>
        </pc:sldMkLst>
        <pc:picChg chg="add mod">
          <ac:chgData name="Roberto Gallardo" userId="49a044883f185952" providerId="LiveId" clId="{E4313ACB-E2C5-4E7F-A166-A7642B5B5042}" dt="2023-03-06T22:44:28.096" v="20" actId="1076"/>
          <ac:picMkLst>
            <pc:docMk/>
            <pc:sldMk cId="1532666867" sldId="298"/>
            <ac:picMk id="6" creationId="{962DD37E-C19B-4190-E169-8BB1E54F77F8}"/>
          </ac:picMkLst>
        </pc:picChg>
      </pc:sldChg>
      <pc:sldChg chg="addSp modSp mod">
        <pc:chgData name="Roberto Gallardo" userId="49a044883f185952" providerId="LiveId" clId="{E4313ACB-E2C5-4E7F-A166-A7642B5B5042}" dt="2023-03-06T22:49:56.159" v="193" actId="1076"/>
        <pc:sldMkLst>
          <pc:docMk/>
          <pc:sldMk cId="1951376777" sldId="299"/>
        </pc:sldMkLst>
        <pc:picChg chg="add mod">
          <ac:chgData name="Roberto Gallardo" userId="49a044883f185952" providerId="LiveId" clId="{E4313ACB-E2C5-4E7F-A166-A7642B5B5042}" dt="2023-03-06T22:49:56.159" v="193" actId="1076"/>
          <ac:picMkLst>
            <pc:docMk/>
            <pc:sldMk cId="1951376777" sldId="299"/>
            <ac:picMk id="7" creationId="{FD1A405A-B797-AEA0-3EDE-20F1D6685297}"/>
          </ac:picMkLst>
        </pc:picChg>
      </pc:sldChg>
      <pc:sldChg chg="modSp mod">
        <pc:chgData name="Roberto Gallardo" userId="49a044883f185952" providerId="LiveId" clId="{E4313ACB-E2C5-4E7F-A166-A7642B5B5042}" dt="2023-02-25T13:25:07.019" v="2" actId="20577"/>
        <pc:sldMkLst>
          <pc:docMk/>
          <pc:sldMk cId="1515423683" sldId="302"/>
        </pc:sldMkLst>
        <pc:spChg chg="mod">
          <ac:chgData name="Roberto Gallardo" userId="49a044883f185952" providerId="LiveId" clId="{E4313ACB-E2C5-4E7F-A166-A7642B5B5042}" dt="2023-02-25T13:25:07.019" v="2" actId="20577"/>
          <ac:spMkLst>
            <pc:docMk/>
            <pc:sldMk cId="1515423683" sldId="302"/>
            <ac:spMk id="5" creationId="{6AE302AC-8931-4144-BE52-DD1A8BA82462}"/>
          </ac:spMkLst>
        </pc:spChg>
        <pc:spChg chg="mod">
          <ac:chgData name="Roberto Gallardo" userId="49a044883f185952" providerId="LiveId" clId="{E4313ACB-E2C5-4E7F-A166-A7642B5B5042}" dt="2023-02-25T13:25:04.423" v="1" actId="20577"/>
          <ac:spMkLst>
            <pc:docMk/>
            <pc:sldMk cId="1515423683" sldId="302"/>
            <ac:spMk id="9" creationId="{E362A98F-7DCD-C67C-23CE-1BE182A133B4}"/>
          </ac:spMkLst>
        </pc:spChg>
      </pc:sldChg>
      <pc:sldChg chg="del">
        <pc:chgData name="Roberto Gallardo" userId="49a044883f185952" providerId="LiveId" clId="{E4313ACB-E2C5-4E7F-A166-A7642B5B5042}" dt="2023-02-25T14:57:52.779" v="4" actId="47"/>
        <pc:sldMkLst>
          <pc:docMk/>
          <pc:sldMk cId="2841628872" sldId="303"/>
        </pc:sldMkLst>
      </pc:sldChg>
      <pc:sldChg chg="del">
        <pc:chgData name="Roberto Gallardo" userId="49a044883f185952" providerId="LiveId" clId="{E4313ACB-E2C5-4E7F-A166-A7642B5B5042}" dt="2023-02-25T14:57:52.779" v="4" actId="47"/>
        <pc:sldMkLst>
          <pc:docMk/>
          <pc:sldMk cId="3084076302" sldId="304"/>
        </pc:sldMkLst>
      </pc:sldChg>
      <pc:sldChg chg="del">
        <pc:chgData name="Roberto Gallardo" userId="49a044883f185952" providerId="LiveId" clId="{E4313ACB-E2C5-4E7F-A166-A7642B5B5042}" dt="2023-02-25T14:57:52.779" v="4" actId="47"/>
        <pc:sldMkLst>
          <pc:docMk/>
          <pc:sldMk cId="473712435" sldId="305"/>
        </pc:sldMkLst>
      </pc:sldChg>
      <pc:sldChg chg="add">
        <pc:chgData name="Roberto Gallardo" userId="49a044883f185952" providerId="LiveId" clId="{E4313ACB-E2C5-4E7F-A166-A7642B5B5042}" dt="2023-02-25T14:57:49.835" v="3"/>
        <pc:sldMkLst>
          <pc:docMk/>
          <pc:sldMk cId="2299892535" sldId="307"/>
        </pc:sldMkLst>
      </pc:sldChg>
      <pc:sldChg chg="add">
        <pc:chgData name="Roberto Gallardo" userId="49a044883f185952" providerId="LiveId" clId="{E4313ACB-E2C5-4E7F-A166-A7642B5B5042}" dt="2023-02-25T14:57:49.835" v="3"/>
        <pc:sldMkLst>
          <pc:docMk/>
          <pc:sldMk cId="63692312" sldId="308"/>
        </pc:sldMkLst>
      </pc:sldChg>
      <pc:sldChg chg="add">
        <pc:chgData name="Roberto Gallardo" userId="49a044883f185952" providerId="LiveId" clId="{E4313ACB-E2C5-4E7F-A166-A7642B5B5042}" dt="2023-02-25T14:57:49.835" v="3"/>
        <pc:sldMkLst>
          <pc:docMk/>
          <pc:sldMk cId="308404944" sldId="309"/>
        </pc:sldMkLst>
      </pc:sldChg>
      <pc:sldChg chg="add">
        <pc:chgData name="Roberto Gallardo" userId="49a044883f185952" providerId="LiveId" clId="{E4313ACB-E2C5-4E7F-A166-A7642B5B5042}" dt="2023-02-25T14:57:49.835" v="3"/>
        <pc:sldMkLst>
          <pc:docMk/>
          <pc:sldMk cId="3879154662"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Green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A51CB5F-A506-6101-A774-99327E6C3B82}"/>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3084049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7F534EE9-59D1-BB22-EA4B-8B35368900F8}"/>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3879154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20F04A26-E754-BD57-E2EE-4A1CE113DC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278" y="1025526"/>
            <a:ext cx="7601244" cy="5375274"/>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62DD37E-C19B-4190-E169-8BB1E54F77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B93AF4A-9F18-94A7-06A6-6B74258D8D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E2A631C-0C63-E42B-7133-A0EA7D13D643}"/>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496B8FBB-8958-CBE3-E3BE-9E046C0371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973"/>
            <a:ext cx="6409509" cy="453253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9F4EA4A-1C0C-A7FC-8D4A-48ACC2B4A639}"/>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38F1E711-0FDF-CA45-1C32-E6300369EC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4986"/>
            <a:ext cx="6403976"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DDBBE182-C1B6-D4DC-E32A-0AEAC385103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6BF0B234-4AEE-4120-E2AC-014AA26414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152CB15-39E6-B413-F741-525C6B4F6C40}"/>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F4852A83-F046-385F-C818-404FCB2E5B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36BDC4B8-69FE-687B-09C1-6DB197E6B7ED}"/>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A66825A-7A47-78E8-F4B8-568120D5E0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C30D4878-D998-41FD-6A40-59FCCFB31691}"/>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 map&#10;&#10;Description automatically generated">
            <a:extLst>
              <a:ext uri="{FF2B5EF4-FFF2-40B4-BE49-F238E27FC236}">
                <a16:creationId xmlns:a16="http://schemas.microsoft.com/office/drawing/2014/main" id="{E07BAB3D-D4CD-1A8B-81A1-2A5D4E49A2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8"/>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5FCC8060-0E18-507D-A31E-43CC76DE44FC}"/>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C0ABAAE-B996-FEB9-BA28-25B050B8D6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507"/>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4799C6D-690B-FA67-1715-20AD086E2ADC}"/>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78F393A-9F33-2651-9C26-B9EADD8B1F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221"/>
            <a:ext cx="6400801" cy="4526373"/>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986DB236-17DB-A734-F56C-CE08093D66CC}"/>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7BAC05C-704E-89AF-9168-D418E6393B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4AE179AC-6CF9-C60A-207B-C0FE51E03E8C}"/>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6530F5F-7BDD-458B-1BAD-F34D6BFD00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7683935D-1D68-1371-80E3-57AA86AD8975}"/>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5E16540-69DD-5884-0B46-18DFCED4BE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119" y="1407239"/>
            <a:ext cx="6399481" cy="452543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37F2FAB3-AEDF-4DCA-E24A-3E70C9509FF3}"/>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D4366F8-FBA7-5871-77B7-2C11CB0A74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799"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36A3D612-5BB0-D267-C39C-7E16AFB42689}"/>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 map&#10;&#10;Description automatically generated">
            <a:extLst>
              <a:ext uri="{FF2B5EF4-FFF2-40B4-BE49-F238E27FC236}">
                <a16:creationId xmlns:a16="http://schemas.microsoft.com/office/drawing/2014/main" id="{D1CD75B4-131C-BF4D-3899-1B0F78A807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093ED57-0B3B-85C5-CC38-03CD3F2CA3EA}"/>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FD1A405A-B797-AEA0-3EDE-20F1D66852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B4AE4338-DAB8-0CBD-7E6C-1877FA5A1C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38800" y="1404533"/>
            <a:ext cx="6400800" cy="4526372"/>
          </a:xfrm>
          <a:prstGeom prst="rect">
            <a:avLst/>
          </a:prstGeom>
        </p:spPr>
      </p:pic>
      <p:pic>
        <p:nvPicPr>
          <p:cNvPr id="11" name="Picture 10">
            <a:extLst>
              <a:ext uri="{FF2B5EF4-FFF2-40B4-BE49-F238E27FC236}">
                <a16:creationId xmlns:a16="http://schemas.microsoft.com/office/drawing/2014/main" id="{01BA06B0-7DC8-2CCD-8371-3C9ED56F41B8}"/>
              </a:ext>
            </a:extLst>
          </p:cNvPr>
          <p:cNvPicPr preferRelativeResize="0"/>
          <p:nvPr/>
        </p:nvPicPr>
        <p:blipFill>
          <a:blip r:embed="rId3"/>
          <a:stretch>
            <a:fillRect/>
          </a:stretch>
        </p:blipFill>
        <p:spPr>
          <a:xfrm>
            <a:off x="152400" y="1749828"/>
            <a:ext cx="5390460" cy="386101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2022812-B2E3-F179-B887-57249083E618}"/>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356C5E20-1EEF-0550-2E0C-93D0582EAF7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6637" y="1418605"/>
            <a:ext cx="6372963" cy="4506686"/>
          </a:xfrm>
          <a:prstGeom prst="rect">
            <a:avLst/>
          </a:prstGeom>
        </p:spPr>
      </p:pic>
      <p:pic>
        <p:nvPicPr>
          <p:cNvPr id="10" name="Picture 9">
            <a:extLst>
              <a:ext uri="{FF2B5EF4-FFF2-40B4-BE49-F238E27FC236}">
                <a16:creationId xmlns:a16="http://schemas.microsoft.com/office/drawing/2014/main" id="{8492F253-5ED4-DE06-A24C-8F4B7F4F6A8C}"/>
              </a:ext>
            </a:extLst>
          </p:cNvPr>
          <p:cNvPicPr preferRelativeResize="0"/>
          <p:nvPr/>
        </p:nvPicPr>
        <p:blipFill>
          <a:blip r:embed="rId3"/>
          <a:stretch>
            <a:fillRect/>
          </a:stretch>
        </p:blipFill>
        <p:spPr>
          <a:xfrm>
            <a:off x="152399" y="1762247"/>
            <a:ext cx="5332371" cy="381940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D89A4AEB-E520-2ED2-AF79-6E8780F976B6}"/>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A1862DA-10A5-602C-9C0D-0ECD4686686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BF8ABB3-6B61-F9C6-8E0E-C2BEA63610BA}"/>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83649" y="2604909"/>
            <a:ext cx="1198148" cy="2120188"/>
            <a:chOff x="8052264" y="2525400"/>
            <a:chExt cx="1198148" cy="2120188"/>
          </a:xfrm>
        </p:grpSpPr>
        <p:sp>
          <p:nvSpPr>
            <p:cNvPr id="21" name="TextBox 20">
              <a:extLst>
                <a:ext uri="{FF2B5EF4-FFF2-40B4-BE49-F238E27FC236}">
                  <a16:creationId xmlns:a16="http://schemas.microsoft.com/office/drawing/2014/main" id="{9A68ADBE-AECC-EE60-7E94-3675B33E08AE}"/>
                </a:ext>
              </a:extLst>
            </p:cNvPr>
            <p:cNvSpPr txBox="1"/>
            <p:nvPr/>
          </p:nvSpPr>
          <p:spPr>
            <a:xfrm>
              <a:off x="8052264" y="321606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464558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5254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8639518" y="2525400"/>
              <a:ext cx="0" cy="60076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51338" y="4108620"/>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5352" y="2870843"/>
            <a:ext cx="1198148" cy="2109738"/>
            <a:chOff x="10485745" y="2771862"/>
            <a:chExt cx="1198148" cy="210973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508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718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71862"/>
              <a:ext cx="0" cy="578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43361"/>
              <a:ext cx="0" cy="6382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6A453FE-DEC8-4311-9A08-514497AFCC23}"/>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A6AF4D44-5D87-5D47-0375-5DA4C3C0815E}"/>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635B894-707F-9B9C-996A-FB52064574DF}"/>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9F63A3E-5942-FC3F-134E-0F02DA80C6A4}"/>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A75C5FA-80BB-BC7F-25A8-F1CB358818D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0B5992D8-59FD-C960-71D9-88E4E057E682}"/>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8D04A256-AF66-ECE7-F724-E595FAB35BD0}"/>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299892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48C9D81-6D06-F05F-9378-EACB55DA48D4}"/>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63692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83</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85</cp:revision>
  <dcterms:created xsi:type="dcterms:W3CDTF">2022-07-04T13:32:28Z</dcterms:created>
  <dcterms:modified xsi:type="dcterms:W3CDTF">2023-03-06T22:52:58Z</dcterms:modified>
</cp:coreProperties>
</file>